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34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6A5B590-5E33-754C-D86A-E3A1FC6046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3F180992-4571-ABFF-0978-A300833F5F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3C767DD-87CD-D05E-CE3A-C51F474E1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B4A95E3-E2A6-2909-C761-CD16481E1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B711C96B-BD4F-09E3-E67A-3CF64D98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2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85026E-3597-A750-0FD9-75934268E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458B844-26F4-0179-3793-A742C0C01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D72BA1-A7ED-36A9-24B4-98B2D768C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311693-639A-343F-DF94-55A3291AD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F0A3F57-7477-0DE2-6937-AF88AD5CE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49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110523A-4727-3CFC-DFCA-04101F6473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A1C672A-5E8D-C0F2-DC82-B007D546C6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1B35CBB-277C-AC80-9754-E2F4003B8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9529889-DB16-F95F-4825-FF5AF1EF4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584132-0E67-D893-C538-A2C69B176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46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AF5084C-76F4-DF90-3B25-F9025209C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8B00DFA-F850-7EAC-4EF4-AE846C8125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5B8B724-C708-A9FD-CFC7-47842540C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6577F6A-0D2C-1AF0-4526-2BA15B97F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F70463D-4C93-C9E0-582F-4D59CD11F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709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E80646F-FFA7-9967-AFFB-09336FB5E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A84C2CF-E4A4-DE4A-F232-636F4551BE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900B813-BBFD-D648-1E48-395F350B8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1D5713-8569-0368-03A5-46B468A5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83B2BFE-C832-26DF-B00E-AABE8520F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4131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4063CB2-D086-6C6E-C442-146E6E5D0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85DC1-052E-A862-420E-AA2D9FD95A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997ABE2-90AF-C2D5-2853-278EB65E80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98E7563-DF7E-EBE3-DBC5-215B4094F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D73559D-2768-D8D1-0A45-2156CC883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64C12930-E02F-343F-9615-738C05FC0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715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C01A9C1-B07E-0967-19A6-5341FF286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32E75BB6-0C7C-B28B-4758-2CC42E869E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82E89AEE-D7FC-C675-8576-54934B08E4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75FA5301-2F52-DD69-4C47-C831CCD8E1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AA5F8A0-2FEA-04E6-DA02-E25908F2B4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FE5B36DE-838F-E4C1-743E-D49BD49E3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B28C5C87-98AA-6A8A-E789-71B500E23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DA9F7195-C759-B1A6-FE36-C6DE2F304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378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E0352B0-C9FF-CC95-30E6-3DC85E76F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FAFCC88-E84B-74B5-0EA8-B1C2ADCA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11B0DBA-2348-EB8E-0DC5-DD7F6B78E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0601C2D0-2171-D1CE-7B72-609D72BBD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126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EAD90867-A0A8-7780-B965-0EF62A7C4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A49EB398-DCA0-28D7-8765-6BFB89BF4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4546EE66-5DB0-997F-8F92-E44C8CB61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150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26AFFAB-B27D-F206-A2CD-99E166142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026C37C-97B5-287D-7D22-F66F6281F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9FDA109-9531-EF5B-E277-FBA7669778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26BF0D2-C794-A13E-0A97-6FC64848C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CE5C0FE-8089-F56F-A445-AFABCDA0D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0A3C9B7-1698-9C4C-BE05-2D5CCF191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53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B8FB838-F559-F698-8CA2-D8CB94CA9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0671B7E-E38B-7627-27CF-19612DFD96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62E0694-E7D9-2267-3305-8FD1ED0F60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4178C5C-0FDD-50CB-4BAF-BC747EFF24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64A9142D-51DD-C019-7D1E-DB934B6F9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EEF8ECD5-9A3A-480B-9370-ABAD49AD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078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91B9B54-EB88-0262-8A72-6AA42E32D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6702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4" imgW="306" imgH="306" progId="TCLayout.ActiveDocument.1">
                  <p:embed/>
                </p:oleObj>
              </mc:Choice>
              <mc:Fallback>
                <p:oleObj name="think-cell 슬라이드" r:id="rId14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1B9B54-EB88-0262-8A72-6AA42E32D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BB94BE18-E8A6-B0B1-E94C-EC3CF0E37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A78BA36-4034-ECC4-4FCC-CD78F9CAB5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/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8074017-A71D-2B90-D087-B84DF387B2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C00DA02-C5D3-479E-9EFC-5056B0D1613C}" type="datetimeFigureOut">
              <a:rPr lang="en-US" smtClean="0"/>
              <a:t>2/19/2025</a:t>
            </a:fld>
            <a:endParaRPr 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E01E9FF-6623-3305-5A4B-BE7000081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E07096D-E31F-883B-17BB-99256DD9E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006771A-6178-40B3-846F-5C92C1085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87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866507B-2631-2A0A-3179-5A4414EA2E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2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66507B-2631-2A0A-3179-5A4414EA2E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부제목 2">
            <a:extLst>
              <a:ext uri="{FF2B5EF4-FFF2-40B4-BE49-F238E27FC236}">
                <a16:creationId xmlns:a16="http://schemas.microsoft.com/office/drawing/2014/main" id="{2C263D68-CB2B-072F-7687-16E2F6DEC3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445" y="16956"/>
            <a:ext cx="9144000" cy="689304"/>
          </a:xfrm>
        </p:spPr>
        <p:txBody>
          <a:bodyPr>
            <a:normAutofit/>
          </a:bodyPr>
          <a:lstStyle/>
          <a:p>
            <a:pPr algn="l"/>
            <a:r>
              <a:rPr lang="ko-KR" altLang="en-US" sz="1000" b="1" dirty="0"/>
              <a:t>추가 사유 </a:t>
            </a:r>
            <a:r>
              <a:rPr lang="en-US" altLang="ko-KR" sz="1000" b="1" dirty="0"/>
              <a:t>: </a:t>
            </a:r>
            <a:br>
              <a:rPr lang="en-US" altLang="ko-KR" sz="1000" b="1" dirty="0"/>
            </a:br>
            <a:r>
              <a:rPr lang="ko-KR" altLang="en-US" sz="1000" b="1" dirty="0"/>
              <a:t>납품처에서 진입 할 수 있는 차량</a:t>
            </a:r>
            <a:r>
              <a:rPr lang="en-US" altLang="ko-KR" sz="1000" b="1" dirty="0"/>
              <a:t>, </a:t>
            </a:r>
            <a:r>
              <a:rPr lang="ko-KR" altLang="en-US" sz="1000" b="1" dirty="0"/>
              <a:t>특이사항 등 참고해야 할 사항이 있음</a:t>
            </a:r>
            <a:br>
              <a:rPr lang="en-US" altLang="ko-KR" sz="1000" b="1" dirty="0"/>
            </a:br>
            <a:r>
              <a:rPr lang="en-US" altLang="ko-KR" sz="1000" b="1" dirty="0"/>
              <a:t>CS</a:t>
            </a:r>
            <a:r>
              <a:rPr lang="ko-KR" altLang="en-US" sz="1000" b="1" dirty="0"/>
              <a:t>팀은 주문확정 과정에서 자신 혹은 다른 팀원이 기입 </a:t>
            </a:r>
            <a:r>
              <a:rPr lang="ko-KR" altLang="en-US" sz="1000" b="1" dirty="0" err="1"/>
              <a:t>해놓은</a:t>
            </a:r>
            <a:r>
              <a:rPr lang="ko-KR" altLang="en-US" sz="1000" b="1" dirty="0"/>
              <a:t> </a:t>
            </a:r>
            <a:r>
              <a:rPr lang="ko-KR" altLang="en-US" sz="1000" b="1" dirty="0" err="1"/>
              <a:t>납품처별</a:t>
            </a:r>
            <a:r>
              <a:rPr lang="ko-KR" altLang="en-US" sz="1000" b="1" dirty="0"/>
              <a:t> 메모를 보고자 함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5E5981DC-CB0E-EAA7-F6D3-852AFCB8CA40}"/>
              </a:ext>
            </a:extLst>
          </p:cNvPr>
          <p:cNvGrpSpPr/>
          <p:nvPr/>
        </p:nvGrpSpPr>
        <p:grpSpPr>
          <a:xfrm>
            <a:off x="75445" y="1035719"/>
            <a:ext cx="10749482" cy="3001736"/>
            <a:chOff x="75445" y="1035719"/>
            <a:chExt cx="10749482" cy="3001736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4CAAE69F-8D11-97C5-4535-963276EA2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45" y="1035719"/>
              <a:ext cx="10749482" cy="300173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C1FF4CF-C964-9C63-4403-E01DC149338F}"/>
                </a:ext>
              </a:extLst>
            </p:cNvPr>
            <p:cNvSpPr txBox="1"/>
            <p:nvPr/>
          </p:nvSpPr>
          <p:spPr>
            <a:xfrm>
              <a:off x="452673" y="1167897"/>
              <a:ext cx="13036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FF0000"/>
                  </a:solidFill>
                </a:rPr>
                <a:t>AS-IS</a:t>
              </a:r>
              <a:endParaRPr lang="ko-KR" altLang="en-US" sz="1400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12BB212F-84E2-0A15-75AA-7B03D076462E}"/>
              </a:ext>
            </a:extLst>
          </p:cNvPr>
          <p:cNvGrpSpPr/>
          <p:nvPr/>
        </p:nvGrpSpPr>
        <p:grpSpPr>
          <a:xfrm>
            <a:off x="123730" y="3965436"/>
            <a:ext cx="12659658" cy="3001736"/>
            <a:chOff x="123730" y="3965436"/>
            <a:chExt cx="12659658" cy="3001736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AA6851B7-43D1-A13A-A4B1-167A6CEA5B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730" y="3965436"/>
              <a:ext cx="10749482" cy="3001736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BC55E3E-E7C5-E643-1536-800F80FC6096}"/>
                </a:ext>
              </a:extLst>
            </p:cNvPr>
            <p:cNvSpPr txBox="1"/>
            <p:nvPr/>
          </p:nvSpPr>
          <p:spPr>
            <a:xfrm>
              <a:off x="452672" y="4124773"/>
              <a:ext cx="130369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dirty="0">
                  <a:solidFill>
                    <a:srgbClr val="FF0000"/>
                  </a:solidFill>
                </a:rPr>
                <a:t>TO-BE</a:t>
              </a:r>
              <a:endParaRPr lang="ko-KR" altLang="en-US" sz="1400" b="1" dirty="0">
                <a:solidFill>
                  <a:srgbClr val="FF0000"/>
                </a:solidFill>
              </a:endParaRPr>
            </a:p>
          </p:txBody>
        </p:sp>
        <p:pic>
          <p:nvPicPr>
            <p:cNvPr id="14" name="그림 13">
              <a:extLst>
                <a:ext uri="{FF2B5EF4-FFF2-40B4-BE49-F238E27FC236}">
                  <a16:creationId xmlns:a16="http://schemas.microsoft.com/office/drawing/2014/main" id="{1A1FA4FB-0B94-DE29-7F07-A27151B72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824927" y="4456830"/>
              <a:ext cx="1933845" cy="207674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4B4EA9A-1ADD-644A-EAE9-AB4265DBC318}"/>
                </a:ext>
              </a:extLst>
            </p:cNvPr>
            <p:cNvSpPr txBox="1"/>
            <p:nvPr/>
          </p:nvSpPr>
          <p:spPr>
            <a:xfrm>
              <a:off x="11525062" y="4493042"/>
              <a:ext cx="82386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ko-KR" altLang="en-US" sz="900" b="1" dirty="0">
                  <a:solidFill>
                    <a:srgbClr val="FF0000"/>
                  </a:solidFill>
                </a:rPr>
                <a:t>주의 사항</a:t>
              </a:r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16A51974-227B-8D4C-0EE0-4C37166214E3}"/>
                </a:ext>
              </a:extLst>
            </p:cNvPr>
            <p:cNvSpPr/>
            <p:nvPr/>
          </p:nvSpPr>
          <p:spPr>
            <a:xfrm>
              <a:off x="11199137" y="4832034"/>
              <a:ext cx="1233710" cy="25349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/>
                <a:t>Input data</a:t>
              </a:r>
              <a:endParaRPr lang="ko-KR" altLang="en-US" sz="900" dirty="0"/>
            </a:p>
          </p:txBody>
        </p:sp>
        <p:sp>
          <p:nvSpPr>
            <p:cNvPr id="17" name="직사각형 16">
              <a:extLst>
                <a:ext uri="{FF2B5EF4-FFF2-40B4-BE49-F238E27FC236}">
                  <a16:creationId xmlns:a16="http://schemas.microsoft.com/office/drawing/2014/main" id="{1AC015C6-95DC-D525-1298-6EB2CBAEE48A}"/>
                </a:ext>
              </a:extLst>
            </p:cNvPr>
            <p:cNvSpPr/>
            <p:nvPr/>
          </p:nvSpPr>
          <p:spPr>
            <a:xfrm>
              <a:off x="11199137" y="5225898"/>
              <a:ext cx="1233710" cy="25349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/>
                <a:t>Input data</a:t>
              </a:r>
              <a:endParaRPr lang="ko-KR" altLang="en-US" sz="900" dirty="0"/>
            </a:p>
          </p:txBody>
        </p:sp>
        <p:sp>
          <p:nvSpPr>
            <p:cNvPr id="18" name="직사각형 17">
              <a:extLst>
                <a:ext uri="{FF2B5EF4-FFF2-40B4-BE49-F238E27FC236}">
                  <a16:creationId xmlns:a16="http://schemas.microsoft.com/office/drawing/2014/main" id="{EF0C6A0A-9478-3DCC-9C1D-4153675E7B3D}"/>
                </a:ext>
              </a:extLst>
            </p:cNvPr>
            <p:cNvSpPr/>
            <p:nvPr/>
          </p:nvSpPr>
          <p:spPr>
            <a:xfrm>
              <a:off x="11199137" y="5551341"/>
              <a:ext cx="1233710" cy="25349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/>
                <a:t>Input data</a:t>
              </a:r>
              <a:endParaRPr lang="ko-KR" altLang="en-US" sz="900" dirty="0"/>
            </a:p>
          </p:txBody>
        </p:sp>
        <p:sp>
          <p:nvSpPr>
            <p:cNvPr id="19" name="직사각형 18">
              <a:extLst>
                <a:ext uri="{FF2B5EF4-FFF2-40B4-BE49-F238E27FC236}">
                  <a16:creationId xmlns:a16="http://schemas.microsoft.com/office/drawing/2014/main" id="{8B1D2DFD-E6EF-C3FF-982B-C90E777D1B69}"/>
                </a:ext>
              </a:extLst>
            </p:cNvPr>
            <p:cNvSpPr/>
            <p:nvPr/>
          </p:nvSpPr>
          <p:spPr>
            <a:xfrm>
              <a:off x="11199137" y="5915706"/>
              <a:ext cx="1233710" cy="253497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/>
                <a:t>Input data</a:t>
              </a:r>
              <a:endParaRPr lang="ko-KR" altLang="en-US" sz="900" dirty="0"/>
            </a:p>
          </p:txBody>
        </p:sp>
        <p:pic>
          <p:nvPicPr>
            <p:cNvPr id="21" name="그림 20">
              <a:extLst>
                <a:ext uri="{FF2B5EF4-FFF2-40B4-BE49-F238E27FC236}">
                  <a16:creationId xmlns:a16="http://schemas.microsoft.com/office/drawing/2014/main" id="{FD37D6E0-8A7F-95B6-B7BB-AC1E6388C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830490" y="4381092"/>
              <a:ext cx="1952898" cy="133369"/>
            </a:xfrm>
            <a:prstGeom prst="rect">
              <a:avLst/>
            </a:prstGeom>
          </p:spPr>
        </p:pic>
      </p:grpSp>
      <p:sp>
        <p:nvSpPr>
          <p:cNvPr id="7" name="부제목 2">
            <a:extLst>
              <a:ext uri="{FF2B5EF4-FFF2-40B4-BE49-F238E27FC236}">
                <a16:creationId xmlns:a16="http://schemas.microsoft.com/office/drawing/2014/main" id="{4576B3FA-6E7F-D27D-6FEA-B4C17B8F6314}"/>
              </a:ext>
            </a:extLst>
          </p:cNvPr>
          <p:cNvSpPr txBox="1">
            <a:spLocks/>
          </p:cNvSpPr>
          <p:nvPr/>
        </p:nvSpPr>
        <p:spPr>
          <a:xfrm>
            <a:off x="27160" y="554278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1.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 주의사항 컬럼 추가 </a:t>
            </a:r>
            <a:r>
              <a:rPr lang="en-US" altLang="ko-KR" sz="1200" b="1" dirty="0"/>
              <a:t>( O_SHIPTO Table</a:t>
            </a:r>
            <a:r>
              <a:rPr lang="ko-KR" altLang="en-US" sz="1200" b="1" dirty="0"/>
              <a:t>에 </a:t>
            </a:r>
            <a:r>
              <a:rPr lang="en-US" altLang="ko-KR" sz="1200" b="1" dirty="0"/>
              <a:t>Comment(VARCHAR(80) </a:t>
            </a:r>
            <a:r>
              <a:rPr lang="ko-KR" altLang="en-US" sz="1200" b="1" dirty="0"/>
              <a:t>추가 </a:t>
            </a:r>
            <a:r>
              <a:rPr lang="en-US" altLang="ko-KR" sz="1200" b="1" dirty="0"/>
              <a:t>)</a:t>
            </a:r>
            <a:br>
              <a:rPr lang="en-US" altLang="ko-KR" sz="1200" b="1" dirty="0"/>
            </a:br>
            <a:r>
              <a:rPr lang="en-US" altLang="ko-KR" sz="1200" b="1" dirty="0"/>
              <a:t>-</a:t>
            </a:r>
            <a:r>
              <a:rPr lang="ko-KR" altLang="en-US" sz="1200" b="1" dirty="0"/>
              <a:t> 납품처로 활용하고 있는 데이터 테이블에 사용자가 수정 할 수 있는 형태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 추가</a:t>
            </a:r>
            <a:br>
              <a:rPr lang="en-US" altLang="ko-KR" sz="1200" b="1" dirty="0"/>
            </a:br>
            <a:r>
              <a:rPr lang="en-US" altLang="ko-KR" sz="1200" b="1" dirty="0"/>
              <a:t> </a:t>
            </a:r>
            <a:r>
              <a:rPr lang="ko-KR" altLang="en-US" sz="1200" b="1" dirty="0"/>
              <a:t> </a:t>
            </a:r>
            <a:r>
              <a:rPr lang="en-US" altLang="ko-KR" sz="1200" b="1" dirty="0"/>
              <a:t>( User</a:t>
            </a:r>
            <a:r>
              <a:rPr lang="ko-KR" altLang="en-US" sz="1200" b="1" dirty="0"/>
              <a:t>가 임의로 저장</a:t>
            </a:r>
            <a:r>
              <a:rPr lang="en-US" altLang="ko-KR" sz="1200" b="1" dirty="0"/>
              <a:t>/</a:t>
            </a:r>
            <a:r>
              <a:rPr lang="ko-KR" altLang="en-US" sz="1200" b="1" dirty="0"/>
              <a:t>삭제 할 수 있어야 함 </a:t>
            </a:r>
            <a:r>
              <a:rPr lang="en-US" altLang="ko-KR" sz="1200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77526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DA5C85-2552-20B1-3551-29D7E1BA94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342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DA5C85-2552-20B1-3551-29D7E1BA9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C275A358-2677-64B7-7811-D9A7D674F0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609" y="1089826"/>
            <a:ext cx="9109187" cy="4678347"/>
          </a:xfrm>
          <a:prstGeom prst="rect">
            <a:avLst/>
          </a:prstGeom>
        </p:spPr>
      </p:pic>
      <p:sp>
        <p:nvSpPr>
          <p:cNvPr id="9" name="부제목 2">
            <a:extLst>
              <a:ext uri="{FF2B5EF4-FFF2-40B4-BE49-F238E27FC236}">
                <a16:creationId xmlns:a16="http://schemas.microsoft.com/office/drawing/2014/main" id="{DB5125AA-5580-8D5D-B159-B5044EA12A09}"/>
              </a:ext>
            </a:extLst>
          </p:cNvPr>
          <p:cNvSpPr txBox="1">
            <a:spLocks/>
          </p:cNvSpPr>
          <p:nvPr/>
        </p:nvSpPr>
        <p:spPr>
          <a:xfrm>
            <a:off x="139796" y="212135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2. </a:t>
            </a:r>
            <a:r>
              <a:rPr lang="ko-KR" altLang="en-US" sz="1200" b="1" dirty="0"/>
              <a:t>웹주문현황에서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에 추가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</a:t>
            </a:r>
            <a:r>
              <a:rPr lang="ko-KR" altLang="en-US" sz="1200" b="1" dirty="0"/>
              <a:t>컬럼을 활용</a:t>
            </a:r>
            <a:br>
              <a:rPr lang="en-US" altLang="ko-KR" sz="1200" b="1" dirty="0"/>
            </a:br>
            <a:r>
              <a:rPr lang="en-US" altLang="ko-KR" sz="1200" b="1" dirty="0"/>
              <a:t>- </a:t>
            </a:r>
            <a:r>
              <a:rPr lang="ko-KR" altLang="en-US" sz="1200" b="1" dirty="0"/>
              <a:t>웹주문현황 </a:t>
            </a:r>
            <a:r>
              <a:rPr lang="en-US" altLang="ko-KR" sz="1200" b="1" dirty="0"/>
              <a:t>Page</a:t>
            </a:r>
            <a:r>
              <a:rPr lang="ko-KR" altLang="en-US" sz="1200" b="1" dirty="0"/>
              <a:t>에서 납품처에 사용자가 입력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을 불러옴</a:t>
            </a:r>
            <a:endParaRPr lang="en-US" altLang="ko-KR" sz="12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5A910-A50B-9890-B6DC-D5718BA1B513}"/>
              </a:ext>
            </a:extLst>
          </p:cNvPr>
          <p:cNvSpPr txBox="1"/>
          <p:nvPr/>
        </p:nvSpPr>
        <p:spPr>
          <a:xfrm>
            <a:off x="174609" y="782049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AS-IS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437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DA5C85-2552-20B1-3551-29D7E1BA94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306" imgH="306" progId="TCLayout.ActiveDocument.1">
                  <p:embed/>
                </p:oleObj>
              </mc:Choice>
              <mc:Fallback>
                <p:oleObj name="think-cell 슬라이드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DA5C85-2552-20B1-3551-29D7E1BA9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부제목 2">
            <a:extLst>
              <a:ext uri="{FF2B5EF4-FFF2-40B4-BE49-F238E27FC236}">
                <a16:creationId xmlns:a16="http://schemas.microsoft.com/office/drawing/2014/main" id="{DB5125AA-5580-8D5D-B159-B5044EA12A09}"/>
              </a:ext>
            </a:extLst>
          </p:cNvPr>
          <p:cNvSpPr txBox="1">
            <a:spLocks/>
          </p:cNvSpPr>
          <p:nvPr/>
        </p:nvSpPr>
        <p:spPr>
          <a:xfrm>
            <a:off x="139796" y="212135"/>
            <a:ext cx="9144000" cy="689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ko-KR" sz="1200" b="1" dirty="0"/>
              <a:t>2. </a:t>
            </a:r>
            <a:r>
              <a:rPr lang="ko-KR" altLang="en-US" sz="1200" b="1" dirty="0"/>
              <a:t>웹주문현황에서 </a:t>
            </a:r>
            <a:r>
              <a:rPr lang="ko-KR" altLang="en-US" sz="1200" b="1" dirty="0" err="1"/>
              <a:t>납품처</a:t>
            </a:r>
            <a:r>
              <a:rPr lang="ko-KR" altLang="en-US" sz="1200" b="1" dirty="0"/>
              <a:t> 테이블에 추가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</a:t>
            </a:r>
            <a:r>
              <a:rPr lang="ko-KR" altLang="en-US" sz="1200" b="1" dirty="0"/>
              <a:t>컬럼을 활용</a:t>
            </a:r>
            <a:br>
              <a:rPr lang="en-US" altLang="ko-KR" sz="1200" b="1" dirty="0"/>
            </a:br>
            <a:r>
              <a:rPr lang="en-US" altLang="ko-KR" sz="1200" b="1" dirty="0"/>
              <a:t>- </a:t>
            </a:r>
            <a:r>
              <a:rPr lang="ko-KR" altLang="en-US" sz="1200" b="1" dirty="0"/>
              <a:t>웹주문현황 </a:t>
            </a:r>
            <a:r>
              <a:rPr lang="en-US" altLang="ko-KR" sz="1200" b="1" dirty="0"/>
              <a:t>Page</a:t>
            </a:r>
            <a:r>
              <a:rPr lang="ko-KR" altLang="en-US" sz="1200" b="1" dirty="0"/>
              <a:t>에서 납품처에 사용자가 입력된 </a:t>
            </a:r>
            <a:r>
              <a:rPr lang="en-US" altLang="ko-KR" sz="1200" b="1" dirty="0"/>
              <a:t>‘</a:t>
            </a:r>
            <a:r>
              <a:rPr lang="ko-KR" altLang="en-US" sz="1200" b="1" dirty="0"/>
              <a:t>주의사항</a:t>
            </a:r>
            <a:r>
              <a:rPr lang="en-US" altLang="ko-KR" sz="1200" b="1" dirty="0"/>
              <a:t>’ </a:t>
            </a:r>
            <a:r>
              <a:rPr lang="ko-KR" altLang="en-US" sz="1200" b="1" dirty="0"/>
              <a:t>컬럼을 불러옴</a:t>
            </a:r>
            <a:br>
              <a:rPr lang="en-US" altLang="ko-KR" sz="1200" b="1" dirty="0"/>
            </a:br>
            <a:r>
              <a:rPr lang="en-US" altLang="ko-KR" sz="1200" b="1" dirty="0"/>
              <a:t> ( </a:t>
            </a:r>
            <a:r>
              <a:rPr lang="ko-KR" altLang="en-US" sz="1200" b="1" dirty="0"/>
              <a:t>기존 거래처 주의사항에 출력되는 </a:t>
            </a:r>
            <a:r>
              <a:rPr lang="en-US" altLang="ko-KR" sz="1200" b="1" dirty="0"/>
              <a:t>Data </a:t>
            </a:r>
            <a:r>
              <a:rPr lang="ko-KR" altLang="en-US" sz="1200" b="1" dirty="0"/>
              <a:t>대신 납품처의 </a:t>
            </a:r>
            <a:r>
              <a:rPr lang="en-US" altLang="ko-KR" sz="1200" b="1" dirty="0"/>
              <a:t>Data</a:t>
            </a:r>
            <a:r>
              <a:rPr lang="ko-KR" altLang="en-US" sz="1200" b="1" dirty="0"/>
              <a:t>를 활용 </a:t>
            </a:r>
            <a:r>
              <a:rPr lang="en-US" altLang="ko-KR" sz="1200" b="1" dirty="0"/>
              <a:t>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F5A910-A50B-9890-B6DC-D5718BA1B513}"/>
              </a:ext>
            </a:extLst>
          </p:cNvPr>
          <p:cNvSpPr txBox="1"/>
          <p:nvPr/>
        </p:nvSpPr>
        <p:spPr>
          <a:xfrm>
            <a:off x="174609" y="782049"/>
            <a:ext cx="13036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>
                <a:solidFill>
                  <a:srgbClr val="FF0000"/>
                </a:solidFill>
              </a:rPr>
              <a:t>TO-BE</a:t>
            </a:r>
            <a:endParaRPr lang="ko-KR" altLang="en-US" sz="1400" b="1" dirty="0">
              <a:solidFill>
                <a:srgbClr val="FF0000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143C538-008F-EED7-029C-A97E7D0292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849" y="1089826"/>
            <a:ext cx="8364117" cy="2505425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DCBD7B0B-2ACB-22BA-F1F0-CDD6B98FA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113" y="3787732"/>
            <a:ext cx="7363853" cy="193384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062C2E2C-23C7-CEBD-5769-6607A168C9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796" y="3597420"/>
            <a:ext cx="1047896" cy="1790950"/>
          </a:xfrm>
          <a:prstGeom prst="rect">
            <a:avLst/>
          </a:prstGeom>
        </p:spPr>
      </p:pic>
      <p:grpSp>
        <p:nvGrpSpPr>
          <p:cNvPr id="21" name="그룹 20">
            <a:extLst>
              <a:ext uri="{FF2B5EF4-FFF2-40B4-BE49-F238E27FC236}">
                <a16:creationId xmlns:a16="http://schemas.microsoft.com/office/drawing/2014/main" id="{DB92EA46-E919-3988-D3F8-1BC5BEDD464B}"/>
              </a:ext>
            </a:extLst>
          </p:cNvPr>
          <p:cNvGrpSpPr/>
          <p:nvPr/>
        </p:nvGrpSpPr>
        <p:grpSpPr>
          <a:xfrm>
            <a:off x="8510623" y="2018956"/>
            <a:ext cx="3496162" cy="2715004"/>
            <a:chOff x="8510623" y="1951844"/>
            <a:chExt cx="3496162" cy="2715004"/>
          </a:xfrm>
        </p:grpSpPr>
        <p:pic>
          <p:nvPicPr>
            <p:cNvPr id="16" name="그림 15">
              <a:extLst>
                <a:ext uri="{FF2B5EF4-FFF2-40B4-BE49-F238E27FC236}">
                  <a16:creationId xmlns:a16="http://schemas.microsoft.com/office/drawing/2014/main" id="{2F9E48CA-46D7-85F8-E131-367CBE76F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10623" y="1951844"/>
              <a:ext cx="1371791" cy="2715004"/>
            </a:xfrm>
            <a:prstGeom prst="rect">
              <a:avLst/>
            </a:prstGeom>
          </p:spPr>
        </p:pic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A4B55AE5-134C-1EB4-4980-38C607A9C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882414" y="2247735"/>
              <a:ext cx="2124371" cy="2362530"/>
            </a:xfrm>
            <a:prstGeom prst="rect">
              <a:avLst/>
            </a:prstGeom>
          </p:spPr>
        </p:pic>
      </p:grpSp>
      <p:cxnSp>
        <p:nvCxnSpPr>
          <p:cNvPr id="20" name="직선 화살표 연결선 19">
            <a:extLst>
              <a:ext uri="{FF2B5EF4-FFF2-40B4-BE49-F238E27FC236}">
                <a16:creationId xmlns:a16="http://schemas.microsoft.com/office/drawing/2014/main" id="{B256B763-3146-04F8-0C0E-0F2B0C6E0FE5}"/>
              </a:ext>
            </a:extLst>
          </p:cNvPr>
          <p:cNvCxnSpPr>
            <a:cxnSpLocks/>
          </p:cNvCxnSpPr>
          <p:nvPr/>
        </p:nvCxnSpPr>
        <p:spPr>
          <a:xfrm flipH="1">
            <a:off x="2652665" y="2525917"/>
            <a:ext cx="7957996" cy="90308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013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ed1093ed-f639-41f3-8ff9-69f9a7d23765}" enabled="1" method="Standard" siteId="{ad200093-0cba-48cb-9853-16fb53354a4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1</TotalTime>
  <Words>161</Words>
  <Application>Microsoft Office PowerPoint</Application>
  <PresentationFormat>와이드스크린</PresentationFormat>
  <Paragraphs>13</Paragraphs>
  <Slides>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7" baseType="lpstr">
      <vt:lpstr>맑은 고딕</vt:lpstr>
      <vt:lpstr>Arial</vt:lpstr>
      <vt:lpstr>Office 테마</vt:lpstr>
      <vt:lpstr>think-cell 슬라이드</vt:lpstr>
      <vt:lpstr>PowerPoint 프레젠테이션</vt:lpstr>
      <vt:lpstr>PowerPoint 프레젠테이션</vt:lpstr>
      <vt:lpstr>PowerPoint 프레젠테이션</vt:lpstr>
    </vt:vector>
  </TitlesOfParts>
  <Company>Knau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ee, Hyo-Sang</dc:creator>
  <cp:lastModifiedBy>홍성근[Sungguen Hong]</cp:lastModifiedBy>
  <cp:revision>3</cp:revision>
  <cp:lastPrinted>2025-02-19T01:11:38Z</cp:lastPrinted>
  <dcterms:created xsi:type="dcterms:W3CDTF">2025-02-19T00:24:53Z</dcterms:created>
  <dcterms:modified xsi:type="dcterms:W3CDTF">2025-02-19T01:50:35Z</dcterms:modified>
</cp:coreProperties>
</file>